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59" r:id="rId4"/>
    <p:sldId id="265" r:id="rId5"/>
    <p:sldId id="280" r:id="rId6"/>
    <p:sldId id="260" r:id="rId7"/>
    <p:sldId id="261" r:id="rId8"/>
    <p:sldId id="262" r:id="rId9"/>
    <p:sldId id="263" r:id="rId10"/>
    <p:sldId id="282" r:id="rId11"/>
    <p:sldId id="283" r:id="rId12"/>
    <p:sldId id="264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7" r:id="rId24"/>
    <p:sldId id="276" r:id="rId25"/>
    <p:sldId id="258" r:id="rId2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>
      <p:cViewPr varScale="1">
        <p:scale>
          <a:sx n="73" d="100"/>
          <a:sy n="73" d="100"/>
        </p:scale>
        <p:origin x="-624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Πανοραμική 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Τίτλος και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Εισαγωγικά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Κάρτα ονόματ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στήλε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Στήλη 3 εικόνω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AAD347D-5ACD-4C99-B74B-A9C85AD731AF}" type="datetimeFigureOut">
              <a:rPr lang="en-US" dirty="0"/>
              <a:pPr/>
              <a:t>10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02111984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8" r:id="rId9"/>
    <p:sldLayoutId id="2147483667" r:id="rId10"/>
    <p:sldLayoutId id="2147483661" r:id="rId11"/>
    <p:sldLayoutId id="2147483664" r:id="rId12"/>
    <p:sldLayoutId id="2147483662" r:id="rId13"/>
    <p:sldLayoutId id="2147483669" r:id="rId14"/>
    <p:sldLayoutId id="2147483670" r:id="rId15"/>
    <p:sldLayoutId id="2147483658" r:id="rId16"/>
    <p:sldLayoutId id="2147483659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hyperlink" Target="https://www.mentimeter.com/" TargetMode="Externa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0.png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hyperlink" Target="https://www.mentimeter.com/" TargetMode="Externa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1.png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hyperlink" Target="https://www.mentimeter.com/" TargetMode="External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hyperlink" Target="https://www.mentimeter.com/" TargetMode="Externa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hyperlink" Target="https://www.mentimeter.com/" TargetMode="External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hyperlink" Target="https://www.mentimeter.com/" TargetMode="External"/><Relationship Id="rId5" Type="http://schemas.openxmlformats.org/officeDocument/2006/relationships/image" Target="../media/image26.png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hyperlink" Target="https://www.mentimeter.com/" TargetMode="Externa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hyperlink" Target="https://www.mentimeter.com/" TargetMode="Externa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431074" y="222069"/>
            <a:ext cx="9078684" cy="1931855"/>
          </a:xfrm>
        </p:spPr>
        <p:txBody>
          <a:bodyPr/>
          <a:lstStyle/>
          <a:p>
            <a:r>
              <a:rPr lang="el-GR" dirty="0" smtClean="0"/>
              <a:t>Οδηγός </a:t>
            </a:r>
            <a:r>
              <a:rPr lang="en-US" dirty="0" err="1" smtClean="0"/>
              <a:t>Mentimeter</a:t>
            </a:r>
            <a:r>
              <a:rPr lang="el-GR" dirty="0"/>
              <a:t/>
            </a:r>
            <a:br>
              <a:rPr lang="el-GR" dirty="0"/>
            </a:br>
            <a:r>
              <a:rPr lang="el-GR" sz="2800" dirty="0" err="1" smtClean="0"/>
              <a:t>Κουκάκης</a:t>
            </a:r>
            <a:r>
              <a:rPr lang="el-GR" sz="2800" dirty="0" smtClean="0"/>
              <a:t> Γεώργιος/ Καθηγητής Πληροφορικής</a:t>
            </a:r>
            <a:endParaRPr lang="el-GR" dirty="0"/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527937" y="2367681"/>
            <a:ext cx="8825658" cy="861420"/>
          </a:xfrm>
        </p:spPr>
        <p:txBody>
          <a:bodyPr>
            <a:normAutofit/>
          </a:bodyPr>
          <a:lstStyle/>
          <a:p>
            <a:r>
              <a:rPr lang="el-GR" sz="1800" dirty="0" err="1"/>
              <a:t>Ελληνικο</a:t>
            </a:r>
            <a:r>
              <a:rPr lang="el-GR" sz="1800" dirty="0"/>
              <a:t> </a:t>
            </a:r>
            <a:r>
              <a:rPr lang="el-GR" sz="1800" dirty="0" err="1"/>
              <a:t>μεσογειακο</a:t>
            </a:r>
            <a:r>
              <a:rPr lang="el-GR" sz="1800" dirty="0"/>
              <a:t> </a:t>
            </a:r>
            <a:r>
              <a:rPr lang="el-GR" sz="1800" dirty="0" err="1"/>
              <a:t>πανεπιστημιο</a:t>
            </a:r>
            <a:endParaRPr lang="el-GR" sz="1800" dirty="0"/>
          </a:p>
          <a:p>
            <a:r>
              <a:rPr lang="el-GR" sz="1800" dirty="0" err="1"/>
              <a:t>Κεντρο</a:t>
            </a:r>
            <a:r>
              <a:rPr lang="el-GR" sz="1800" dirty="0"/>
              <a:t> </a:t>
            </a:r>
            <a:r>
              <a:rPr lang="el-GR" sz="1800" dirty="0" err="1"/>
              <a:t>υποστηριξησ</a:t>
            </a:r>
            <a:r>
              <a:rPr lang="el-GR" sz="1800" dirty="0"/>
              <a:t> </a:t>
            </a:r>
            <a:r>
              <a:rPr lang="el-GR" sz="1800" dirty="0" err="1"/>
              <a:t>διδασκαλιασ</a:t>
            </a:r>
            <a:r>
              <a:rPr lang="el-GR" sz="1800" dirty="0"/>
              <a:t> και </a:t>
            </a:r>
            <a:r>
              <a:rPr lang="el-GR" sz="1800" dirty="0" err="1"/>
              <a:t>μαθησησ</a:t>
            </a:r>
            <a:endParaRPr lang="el-GR" sz="1800" dirty="0"/>
          </a:p>
        </p:txBody>
      </p:sp>
      <p:sp>
        <p:nvSpPr>
          <p:cNvPr id="4" name="Ορθογώνιο 3"/>
          <p:cNvSpPr/>
          <p:nvPr/>
        </p:nvSpPr>
        <p:spPr>
          <a:xfrm>
            <a:off x="632441" y="3341679"/>
            <a:ext cx="2792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kedima.hmu.gr/</a:t>
            </a:r>
            <a:endParaRPr lang="el-GR" dirty="0"/>
          </a:p>
        </p:txBody>
      </p:sp>
      <p:pic>
        <p:nvPicPr>
          <p:cNvPr id="1026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6 - Ορθογώνιο"/>
          <p:cNvSpPr/>
          <p:nvPr/>
        </p:nvSpPr>
        <p:spPr>
          <a:xfrm>
            <a:off x="274320" y="5681565"/>
            <a:ext cx="1163029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1200" dirty="0" smtClean="0"/>
              <a:t>Το σεμινάριο υλοποιείται στα πλαίσια της Πράξης «Γραφείο υποστήριξης της διδασκαλίας και μάθησης στο Ελληνικό Μεσογειακό Πανεπιστήμιο» με κωδικό ΟΠΣ (MIS) 5162371. </a:t>
            </a:r>
            <a:br>
              <a:rPr lang="el-GR" sz="1200" dirty="0" smtClean="0"/>
            </a:br>
            <a:endParaRPr lang="el-GR" sz="1200" dirty="0" smtClean="0"/>
          </a:p>
          <a:p>
            <a:r>
              <a:rPr lang="el-GR" sz="1200" dirty="0" smtClean="0"/>
              <a:t>Το έργο συγχρηματοδοτείται από την Ελλάδα και την Ευρωπαϊκή Ένωση (Ευρωπαϊκό Κοινωνικό Ταμείο) μέσω του Επιχειρησιακού Προγράμματος «Ανάπτυξη Ανθρώπινου Δυναμικού, Εκπαίδευση και Διά Βίου Μάθηση» .</a:t>
            </a:r>
            <a:endParaRPr lang="el-GR" sz="12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39716" y="4421279"/>
            <a:ext cx="6605587" cy="99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1226814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pPr algn="ctr"/>
            <a:r>
              <a:rPr lang="el-GR" dirty="0"/>
              <a:t>Παράθυρο παρουσιαστή σε δοκιμή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Εικόνα 5">
            <a:extLst>
              <a:ext uri="{FF2B5EF4-FFF2-40B4-BE49-F238E27FC236}">
                <a16:creationId xmlns:a16="http://schemas.microsoft.com/office/drawing/2014/main" xmlns="" id="{566B8B3E-8C96-7506-DF64-56483BD694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0897" y="1753644"/>
            <a:ext cx="8215254" cy="456643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4098CA6A-173F-8F0B-136C-28C7E78653C3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8" name="Ορθογώνιο 7">
            <a:extLst>
              <a:ext uri="{FF2B5EF4-FFF2-40B4-BE49-F238E27FC236}">
                <a16:creationId xmlns:a16="http://schemas.microsoft.com/office/drawing/2014/main" xmlns="" id="{2A96458B-E58E-4259-56FA-53725DF10D90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12070789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pPr algn="ctr"/>
            <a:r>
              <a:rPr lang="el-GR" dirty="0"/>
              <a:t>Παράθυρο συμμετέχοντα σε δοκιμή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BB5124D8-E5DF-C8CA-9EA3-5D431C16D2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0720" y="1687606"/>
            <a:ext cx="8590560" cy="438374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5607EC5D-B062-747F-510E-E98FE6FE047D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xmlns="" id="{A6DCB658-C8F3-D7C7-A440-7BB193650F48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36319192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016974" y="333586"/>
            <a:ext cx="8363100" cy="793376"/>
          </a:xfrm>
        </p:spPr>
        <p:txBody>
          <a:bodyPr/>
          <a:lstStyle/>
          <a:p>
            <a:r>
              <a:rPr lang="el-GR" dirty="0"/>
              <a:t>Αποτέλεσμα μίας καταγραφή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Εικόνα 8">
            <a:extLst>
              <a:ext uri="{FF2B5EF4-FFF2-40B4-BE49-F238E27FC236}">
                <a16:creationId xmlns:a16="http://schemas.microsoft.com/office/drawing/2014/main" xmlns="" id="{AFC6D022-623D-D4C8-A5B1-08D6B280ED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2329" y="1588564"/>
            <a:ext cx="8427341" cy="448985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95E04323-2B29-141B-6144-C88A58FB0F01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1" name="Ορθογώνιο 10">
            <a:extLst>
              <a:ext uri="{FF2B5EF4-FFF2-40B4-BE49-F238E27FC236}">
                <a16:creationId xmlns:a16="http://schemas.microsoft.com/office/drawing/2014/main" xmlns="" id="{C9160246-444D-529D-8A1E-5586A947CFB1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15139101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971600" y="269118"/>
            <a:ext cx="8248800" cy="793376"/>
          </a:xfrm>
        </p:spPr>
        <p:txBody>
          <a:bodyPr/>
          <a:lstStyle/>
          <a:p>
            <a:pPr algn="ctr"/>
            <a:r>
              <a:rPr lang="el-GR" dirty="0"/>
              <a:t>Αποτέλεσμα περισσότερων απαντήσε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42EEA6D2-A40D-4BB0-1090-5BDE8B4046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6740" y="1636409"/>
            <a:ext cx="8546259" cy="445720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3434DA27-BD4E-B297-E1E3-95B0F6AC8629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xmlns="" id="{9D8CDA15-C7CB-1619-D82F-567DA53732C7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1155890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189627"/>
            <a:ext cx="7441976" cy="793376"/>
          </a:xfrm>
        </p:spPr>
        <p:txBody>
          <a:bodyPr/>
          <a:lstStyle/>
          <a:p>
            <a:pPr algn="ctr"/>
            <a:r>
              <a:rPr lang="el-GR" dirty="0"/>
              <a:t>Χρήση ερωτήσεων πολλαπλών επιλογώ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16DE1769-87E2-CA87-B60B-AD82CAE2F8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1692" y="1591584"/>
            <a:ext cx="6096000" cy="443269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D213DD2E-4780-3037-84A3-4D110302A20A}"/>
              </a:ext>
            </a:extLst>
          </p:cNvPr>
          <p:cNvSpPr txBox="1"/>
          <p:nvPr/>
        </p:nvSpPr>
        <p:spPr>
          <a:xfrm>
            <a:off x="875739" y="2231776"/>
            <a:ext cx="235827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dirty="0"/>
              <a:t>Κάντε μία ερώτηση στους συμμετέχοντες την οποία μπορούν να απαντήσουν  με προκαθορισμένες επιλογές. Οι απαντήσεις τους εμφανίζονται </a:t>
            </a:r>
            <a:r>
              <a:rPr lang="en-US" dirty="0"/>
              <a:t>live </a:t>
            </a:r>
            <a:r>
              <a:rPr lang="el-GR" dirty="0"/>
              <a:t>εκείνη τη στιγμή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13C0FDA7-444E-BC90-D3EA-0D2A903C3D77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2" name="Ορθογώνιο 11">
            <a:extLst>
              <a:ext uri="{FF2B5EF4-FFF2-40B4-BE49-F238E27FC236}">
                <a16:creationId xmlns:a16="http://schemas.microsoft.com/office/drawing/2014/main" xmlns="" id="{76D54F07-367A-83F3-072A-5199E2046673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31146937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435959" y="163710"/>
            <a:ext cx="8800129" cy="793376"/>
          </a:xfrm>
        </p:spPr>
        <p:txBody>
          <a:bodyPr/>
          <a:lstStyle/>
          <a:p>
            <a:pPr algn="ctr"/>
            <a:r>
              <a:rPr lang="el-GR" dirty="0"/>
              <a:t>Προσθήκη φωτογραφιών ή </a:t>
            </a:r>
            <a:r>
              <a:rPr lang="en-US" dirty="0"/>
              <a:t>Gifs </a:t>
            </a:r>
            <a:r>
              <a:rPr lang="el-GR" dirty="0"/>
              <a:t>στη θέση των απαντήσε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05E7A3BF-54C7-8B81-EAAE-16EB6C3266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69506" y="1605031"/>
            <a:ext cx="8574666" cy="4576133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C8659BB4-933E-EB39-8C1C-E11C6897F252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4599170" y="2058880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BDD70D80-CE2F-727E-E324-4A74C00EDD59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 rot="16200000">
            <a:off x="6926026" y="2058880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8382EC3F-AEEA-6936-0E4F-C529058EE23A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 rot="16200000">
            <a:off x="5792854" y="2058880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FD9208D-2799-58A2-6E7D-1CC104F55B9C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7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2" name="Ορθογώνιο 11">
            <a:extLst>
              <a:ext uri="{FF2B5EF4-FFF2-40B4-BE49-F238E27FC236}">
                <a16:creationId xmlns:a16="http://schemas.microsoft.com/office/drawing/2014/main" xmlns="" id="{18416CD8-64B0-9501-22C8-899376AE0FB5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11460941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r>
              <a:rPr lang="el-GR" dirty="0"/>
              <a:t>Ερωτήσεις πολλαπλών επιλογών με χρήση </a:t>
            </a:r>
            <a:r>
              <a:rPr lang="en-US" dirty="0"/>
              <a:t>Gifs</a:t>
            </a:r>
            <a:endParaRPr lang="el-GR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43C7B48E-4186-A460-906B-258A397A4D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91433" y="1591585"/>
            <a:ext cx="8546259" cy="4549239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DD4CC23C-F773-CEC0-131D-3EE1ECD89D05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4423669" y="3747234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3BA86013-D1A1-6282-5A7A-35BD30880351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 rot="16200000">
            <a:off x="5379099" y="3728956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9D65779B-DCEF-9F34-EE31-24BC7B8A7C7C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 rot="16200000">
            <a:off x="6334529" y="3747235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DB48A88B-C65C-DA82-B982-A88F9CAC5DE4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7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2" name="Ορθογώνιο 11">
            <a:extLst>
              <a:ext uri="{FF2B5EF4-FFF2-40B4-BE49-F238E27FC236}">
                <a16:creationId xmlns:a16="http://schemas.microsoft.com/office/drawing/2014/main" xmlns="" id="{BE0CDC4C-FFC3-FDF2-1FB8-015DC17E3536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28107433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pPr algn="ctr"/>
            <a:r>
              <a:rPr lang="el-GR" dirty="0"/>
              <a:t>Χρήση διαφανειώ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FB754C9C-4DC1-92CF-1831-B9379A2F22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1432" y="1591585"/>
            <a:ext cx="8582121" cy="450621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42FF2D78-611F-EF61-7293-8DFCA3376D28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xmlns="" val="257881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r>
              <a:rPr lang="el-GR" dirty="0"/>
              <a:t>Προσθήκη εικόνας στις διαφάνειε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0CE6F0CF-F95B-B06B-5D03-7EA9314AE6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1433" y="1591584"/>
            <a:ext cx="8456614" cy="4504416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BC387D3E-7675-CCB3-A01D-3FC04E01B0A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9333050" y="3706544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22D599D-DEB6-062F-FE9A-65CFC3FE9DCF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5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0" name="Ορθογώνιο 9">
            <a:extLst>
              <a:ext uri="{FF2B5EF4-FFF2-40B4-BE49-F238E27FC236}">
                <a16:creationId xmlns:a16="http://schemas.microsoft.com/office/drawing/2014/main" xmlns="" id="{5D07D03C-B313-1009-F618-8C0AFD607397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23896198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163710"/>
            <a:ext cx="7624165" cy="793376"/>
          </a:xfrm>
        </p:spPr>
        <p:txBody>
          <a:bodyPr/>
          <a:lstStyle/>
          <a:p>
            <a:pPr algn="ctr"/>
            <a:r>
              <a:rPr lang="el-GR" dirty="0"/>
              <a:t>Δυνατότητα  γρήγορης αλλαγής τύπου διαφάνεια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67E00A7C-F205-EED1-8E2C-79E6E0C914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4331" y="1555893"/>
            <a:ext cx="8546258" cy="4478932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8B925022-575A-178E-2DF3-CBE35609ADEE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8945291" y="2085774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A1A4ABA2-BBE1-F865-EE62-627552EDF073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5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0" name="Ορθογώνιο 9">
            <a:extLst>
              <a:ext uri="{FF2B5EF4-FFF2-40B4-BE49-F238E27FC236}">
                <a16:creationId xmlns:a16="http://schemas.microsoft.com/office/drawing/2014/main" xmlns="" id="{C57A50D1-DD4E-F14E-4522-CB8E79540B75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25530674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339423" y="212937"/>
            <a:ext cx="7718201" cy="793376"/>
          </a:xfrm>
        </p:spPr>
        <p:txBody>
          <a:bodyPr/>
          <a:lstStyle/>
          <a:p>
            <a:r>
              <a:rPr lang="el-GR" dirty="0"/>
              <a:t>Κεντρική σελίδα </a:t>
            </a:r>
            <a:r>
              <a:rPr lang="en-US" dirty="0" err="1"/>
              <a:t>Mentimeter</a:t>
            </a:r>
            <a:endParaRPr lang="el-GR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9B6088DA-4B0F-A2C1-0502-A8713EDA6E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7436" y="1582620"/>
            <a:ext cx="8546260" cy="450621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0B18E85C-AFC7-B1DC-995B-2343E5FBDBC3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xmlns="" val="27778327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020336" y="163710"/>
            <a:ext cx="8356376" cy="793376"/>
          </a:xfrm>
        </p:spPr>
        <p:txBody>
          <a:bodyPr/>
          <a:lstStyle/>
          <a:p>
            <a:pPr algn="ctr"/>
            <a:r>
              <a:rPr lang="el-GR" dirty="0"/>
              <a:t>Δυνατότητα αλλαγής τρόπου παρουσίασης διαφάνεια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2F349B1E-5C28-87FE-92E7-BFD6C1701B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1433" y="1600934"/>
            <a:ext cx="8546258" cy="4441277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B6209371-C8D7-88FF-EF7D-4D66F4A34E7F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9082539" y="2007732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AD79F5DB-9F91-D336-4E68-FEE59C27E607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5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0" name="Ορθογώνιο 9">
            <a:extLst>
              <a:ext uri="{FF2B5EF4-FFF2-40B4-BE49-F238E27FC236}">
                <a16:creationId xmlns:a16="http://schemas.microsoft.com/office/drawing/2014/main" xmlns="" id="{1DA2038F-094A-82C9-ED1D-CB120BBB4790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6740903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197758" y="141542"/>
            <a:ext cx="9048900" cy="793376"/>
          </a:xfrm>
        </p:spPr>
        <p:txBody>
          <a:bodyPr/>
          <a:lstStyle/>
          <a:p>
            <a:pPr algn="ctr"/>
            <a:r>
              <a:rPr lang="el-GR" dirty="0"/>
              <a:t>Δυνατότητα προσθήκης </a:t>
            </a:r>
            <a:r>
              <a:rPr lang="el-GR" dirty="0" err="1"/>
              <a:t>διαδραστικότητας</a:t>
            </a:r>
            <a:r>
              <a:rPr lang="el-GR" dirty="0"/>
              <a:t> στη διαφάνεια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B97E8C12-A4EE-DC2C-EFB6-B04B14607B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1433" y="1591585"/>
            <a:ext cx="8555225" cy="4471227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6008C7F4-5868-AC5D-8F91-16084CC05546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246658" y="2606127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CF34E98C-0DFF-6321-709B-05C0D343A485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 rot="16200000">
            <a:off x="9082539" y="2027903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5F7C1B3-2A03-FB3A-6701-286C9CF9DC03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6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1" name="Ορθογώνιο 10">
            <a:extLst>
              <a:ext uri="{FF2B5EF4-FFF2-40B4-BE49-F238E27FC236}">
                <a16:creationId xmlns:a16="http://schemas.microsoft.com/office/drawing/2014/main" xmlns="" id="{D2B345B3-669A-7EF5-74A2-0DC4DBF6568A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5879104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814807" y="284631"/>
            <a:ext cx="8295864" cy="793376"/>
          </a:xfrm>
        </p:spPr>
        <p:txBody>
          <a:bodyPr/>
          <a:lstStyle/>
          <a:p>
            <a:r>
              <a:rPr lang="el-GR" dirty="0"/>
              <a:t>Δυνατότητα προσθήκης βίντεο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3405D491-924D-8E16-23C9-B111ADB924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1671" y="1591584"/>
            <a:ext cx="8502137" cy="458509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869DE0B-92DA-6BE7-FA41-C217AB755B0E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xmlns="" id="{56CB6FEA-25AB-66C1-F305-6CAD0278EC81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26358375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282553" y="306693"/>
            <a:ext cx="7831941" cy="793376"/>
          </a:xfrm>
        </p:spPr>
        <p:txBody>
          <a:bodyPr/>
          <a:lstStyle/>
          <a:p>
            <a:r>
              <a:rPr lang="el-GR" dirty="0"/>
              <a:t>Χρήση ερώτησης κατάταξη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A1A61F46-BE5F-2858-071D-9D2DC45727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1433" y="1591585"/>
            <a:ext cx="8546259" cy="44954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C2489FC2-66AA-0106-7719-1A2891D8D180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xmlns="" id="{52AF51A3-E2B0-8E1E-9111-CCCF6174D451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22777016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600306" cy="793376"/>
          </a:xfrm>
        </p:spPr>
        <p:txBody>
          <a:bodyPr/>
          <a:lstStyle/>
          <a:p>
            <a:pPr algn="ctr"/>
            <a:r>
              <a:rPr lang="el-GR" dirty="0"/>
              <a:t>Επιπλέον είδη διαφανειών περιεχομένου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EDBE8EB6-FEE9-38B8-6FDF-C101C849EA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0471" y="1636409"/>
            <a:ext cx="8546259" cy="450621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F98D1E3F-BDBE-B65A-19F6-F04BCFFABCE9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xmlns="" id="{D315F84A-0466-FE20-0F12-03FA8F503A53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38199130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Εικόνα 2">
            <a:extLst>
              <a:ext uri="{FF2B5EF4-FFF2-40B4-BE49-F238E27FC236}">
                <a16:creationId xmlns:a16="http://schemas.microsoft.com/office/drawing/2014/main" xmlns="" id="{D3C84453-2126-51E5-7D12-0767931D7B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6132" y="1272092"/>
            <a:ext cx="4509287" cy="2965930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491967" y="4512719"/>
            <a:ext cx="6605587" cy="99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6 - Ορθογώνιο"/>
          <p:cNvSpPr/>
          <p:nvPr/>
        </p:nvSpPr>
        <p:spPr>
          <a:xfrm>
            <a:off x="222069" y="5681565"/>
            <a:ext cx="1196993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1200" dirty="0" smtClean="0"/>
              <a:t>Το σεμινάριο υλοποιείται στα πλαίσια της Πράξης «Γραφείο υποστήριξης της διδασκαλίας και μάθησης στο Ελληνικό Μεσογειακό Πανεπιστήμιο» με κωδικό ΟΠΣ (MIS) 5162371. </a:t>
            </a:r>
            <a:br>
              <a:rPr lang="el-GR" sz="1200" dirty="0" smtClean="0"/>
            </a:br>
            <a:endParaRPr lang="el-GR" sz="1200" dirty="0" smtClean="0"/>
          </a:p>
          <a:p>
            <a:r>
              <a:rPr lang="el-GR" sz="1200" dirty="0" smtClean="0"/>
              <a:t>Το έργο συγχρηματοδοτείται από την Ελλάδα και την Ευρωπαϊκή Ένωση (Ευρωπαϊκό Κοινωνικό Ταμείο) μέσω του Επιχειρησιακού Προγράμματος «Ανάπτυξη Ανθρώπινου Δυναμικού, Εκπαίδευση και Διά Βίου Μάθηση» .</a:t>
            </a:r>
            <a:endParaRPr lang="el-GR" sz="1200" dirty="0"/>
          </a:p>
        </p:txBody>
      </p:sp>
    </p:spTree>
    <p:extLst>
      <p:ext uri="{BB962C8B-B14F-4D97-AF65-F5344CB8AC3E}">
        <p14:creationId xmlns:p14="http://schemas.microsoft.com/office/powerpoint/2010/main" xmlns="" val="9224886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r>
              <a:rPr lang="el-GR" dirty="0"/>
              <a:t>Εγγραφή στο </a:t>
            </a:r>
            <a:r>
              <a:rPr lang="en-US" dirty="0" err="1"/>
              <a:t>Mentimeter</a:t>
            </a:r>
            <a:endParaRPr lang="el-GR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Εικόνα 7">
            <a:extLst>
              <a:ext uri="{FF2B5EF4-FFF2-40B4-BE49-F238E27FC236}">
                <a16:creationId xmlns:a16="http://schemas.microsoft.com/office/drawing/2014/main" xmlns="" id="{372BF514-D9AE-79BF-575C-3F77E51347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7436" y="1582620"/>
            <a:ext cx="8546260" cy="450621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66DB5A9-C20B-DD69-3D0A-F0236472FEDC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0" name="Ορθογώνιο 9">
            <a:extLst>
              <a:ext uri="{FF2B5EF4-FFF2-40B4-BE49-F238E27FC236}">
                <a16:creationId xmlns:a16="http://schemas.microsoft.com/office/drawing/2014/main" xmlns="" id="{E33CAF32-0069-0A37-63D5-520443847133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26345200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r>
              <a:rPr lang="el-GR" dirty="0"/>
              <a:t>Προφίλ Λογαριασμού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Εικόνα 5">
            <a:extLst>
              <a:ext uri="{FF2B5EF4-FFF2-40B4-BE49-F238E27FC236}">
                <a16:creationId xmlns:a16="http://schemas.microsoft.com/office/drawing/2014/main" xmlns="" id="{7A692982-5A8E-5AE9-EF3C-0F005D8E68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1433" y="1591585"/>
            <a:ext cx="8546259" cy="450621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0469DC0-7BDF-DEA7-DA8D-1EC9FDF639C8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8" name="Ορθογώνιο 7">
            <a:extLst>
              <a:ext uri="{FF2B5EF4-FFF2-40B4-BE49-F238E27FC236}">
                <a16:creationId xmlns:a16="http://schemas.microsoft.com/office/drawing/2014/main" xmlns="" id="{47068277-7EB7-BA1D-FD63-1C0683577BA5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11043476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691433" y="363517"/>
            <a:ext cx="8346851" cy="793376"/>
          </a:xfrm>
        </p:spPr>
        <p:txBody>
          <a:bodyPr/>
          <a:lstStyle/>
          <a:p>
            <a:r>
              <a:rPr lang="el-GR" dirty="0"/>
              <a:t>Δημιουργία νέας παρουσίαση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Εικόνα 5">
            <a:extLst>
              <a:ext uri="{FF2B5EF4-FFF2-40B4-BE49-F238E27FC236}">
                <a16:creationId xmlns:a16="http://schemas.microsoft.com/office/drawing/2014/main" xmlns="" id="{7A692982-5A8E-5AE9-EF3C-0F005D8E68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1433" y="1591585"/>
            <a:ext cx="8546259" cy="4506210"/>
          </a:xfrm>
          <a:prstGeom prst="rect">
            <a:avLst/>
          </a:prstGeom>
        </p:spPr>
      </p:pic>
      <p:sp>
        <p:nvSpPr>
          <p:cNvPr id="7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6346528B-AAFE-B03D-9EAE-448FE053BA41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0800000">
            <a:off x="2226017" y="3502959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6EEBA44-C045-96FB-E9A9-92F58FEC625C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5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0" name="Ορθογώνιο 9">
            <a:extLst>
              <a:ext uri="{FF2B5EF4-FFF2-40B4-BE49-F238E27FC236}">
                <a16:creationId xmlns:a16="http://schemas.microsoft.com/office/drawing/2014/main" xmlns="" id="{D12E470A-0B0B-6103-075F-3EFF70145085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20554501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r>
              <a:rPr lang="el-GR" dirty="0"/>
              <a:t>Είδη </a:t>
            </a:r>
            <a:r>
              <a:rPr lang="en-US" dirty="0"/>
              <a:t>template </a:t>
            </a:r>
            <a:r>
              <a:rPr lang="el-GR" dirty="0"/>
              <a:t>προς χρήση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Εικόνα 10">
            <a:extLst>
              <a:ext uri="{FF2B5EF4-FFF2-40B4-BE49-F238E27FC236}">
                <a16:creationId xmlns:a16="http://schemas.microsoft.com/office/drawing/2014/main" xmlns="" id="{8C129D04-2714-C758-1696-E3F1A10F7B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5020" y="1591932"/>
            <a:ext cx="8559083" cy="450621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3ACB5048-98F5-655F-D506-F14CC0E90606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3" name="Ορθογώνιο 12">
            <a:extLst>
              <a:ext uri="{FF2B5EF4-FFF2-40B4-BE49-F238E27FC236}">
                <a16:creationId xmlns:a16="http://schemas.microsoft.com/office/drawing/2014/main" xmlns="" id="{DBE40D5F-B6E7-F2C5-4AC9-B30E01D5541F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2281126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717787" y="280101"/>
            <a:ext cx="8756426" cy="793376"/>
          </a:xfrm>
        </p:spPr>
        <p:txBody>
          <a:bodyPr/>
          <a:lstStyle/>
          <a:p>
            <a:r>
              <a:rPr lang="el-GR" dirty="0"/>
              <a:t>Επιλογή</a:t>
            </a:r>
            <a:r>
              <a:rPr lang="en-US" dirty="0"/>
              <a:t> </a:t>
            </a:r>
            <a:r>
              <a:rPr lang="el-GR" dirty="0"/>
              <a:t>είδους νέας διαφάνεια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57C79961-74BA-B400-3486-B8EF249E9C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8327" y="1627396"/>
            <a:ext cx="8605348" cy="450621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BCB31CE-7B14-8A09-9E59-BE2B0032E1B1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xmlns="" id="{A0AA0502-1BFB-0F84-FD2B-8316C7F64397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4908469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323517"/>
            <a:ext cx="7164199" cy="793376"/>
          </a:xfrm>
        </p:spPr>
        <p:txBody>
          <a:bodyPr/>
          <a:lstStyle/>
          <a:p>
            <a:r>
              <a:rPr lang="el-GR" dirty="0"/>
              <a:t>Χρήση </a:t>
            </a:r>
            <a:r>
              <a:rPr lang="en-US" dirty="0"/>
              <a:t>Word Cloud</a:t>
            </a:r>
            <a:endParaRPr lang="el-GR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xmlns="" id="{1A3D16B8-92F3-DA5F-3247-6407780A82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6725" y="1585121"/>
            <a:ext cx="6015660" cy="43947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E9F63D2-939C-1A2E-0321-EFAD495214D8}"/>
              </a:ext>
            </a:extLst>
          </p:cNvPr>
          <p:cNvSpPr txBox="1"/>
          <p:nvPr/>
        </p:nvSpPr>
        <p:spPr>
          <a:xfrm>
            <a:off x="647700" y="2074321"/>
            <a:ext cx="2924175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l-GR" dirty="0"/>
              <a:t>Σύννεφο λέξεων είναι μια συλλογή, ή συστάδα, λέξεων που απεικονίζονται σε διαφορετικά μεγέθη:</a:t>
            </a:r>
          </a:p>
          <a:p>
            <a:pPr algn="just"/>
            <a:endParaRPr lang="el-GR" dirty="0"/>
          </a:p>
          <a:p>
            <a:pPr algn="just"/>
            <a:endParaRPr lang="el-GR" dirty="0"/>
          </a:p>
          <a:p>
            <a:pPr algn="just"/>
            <a:r>
              <a:rPr lang="el-GR" dirty="0"/>
              <a:t>Κάντε οποιαδήποτε ερώτηση ανοικτού τύπου. Οι συμμετέχοντες απαντούν με ελεύθερο κείμενο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8890D22-139F-1361-D7BB-1196C8E29958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1" name="Ορθογώνιο 10">
            <a:extLst>
              <a:ext uri="{FF2B5EF4-FFF2-40B4-BE49-F238E27FC236}">
                <a16:creationId xmlns:a16="http://schemas.microsoft.com/office/drawing/2014/main" xmlns="" id="{42B414A7-4DA5-F7C6-D756-921E02822140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7908355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560829" y="163710"/>
            <a:ext cx="8632041" cy="793376"/>
          </a:xfrm>
        </p:spPr>
        <p:txBody>
          <a:bodyPr/>
          <a:lstStyle/>
          <a:p>
            <a:pPr algn="ctr"/>
            <a:r>
              <a:rPr lang="el-GR" dirty="0"/>
              <a:t>Δοκιμή διαφάνειας/παρουσίαση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Εικόνα 10">
            <a:extLst>
              <a:ext uri="{FF2B5EF4-FFF2-40B4-BE49-F238E27FC236}">
                <a16:creationId xmlns:a16="http://schemas.microsoft.com/office/drawing/2014/main" xmlns="" id="{F1850F0F-7D3E-A87F-3B27-2F6F0D104F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4805" y="1694010"/>
            <a:ext cx="8243047" cy="4517348"/>
          </a:xfrm>
          <a:prstGeom prst="rect">
            <a:avLst/>
          </a:prstGeom>
        </p:spPr>
      </p:pic>
      <p:sp>
        <p:nvSpPr>
          <p:cNvPr id="1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924CA49C-5008-0279-4607-C07034CFEB81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9816628" y="1386527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ECA9ED6-1123-E2AD-DD41-F9A23CC4048B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5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4" name="Ορθογώνιο 13">
            <a:extLst>
              <a:ext uri="{FF2B5EF4-FFF2-40B4-BE49-F238E27FC236}">
                <a16:creationId xmlns:a16="http://schemas.microsoft.com/office/drawing/2014/main" xmlns="" id="{DDB090C9-BF0D-7F8C-FB77-AB237031892A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xmlns="" val="4210546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Ιόν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Κεδιμα" id="{C0C173B8-8EA5-4AB0-9F78-A9E09A3D40A5}" vid="{88EB095C-1C72-4C38-A9CC-6B0D7934CE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</TotalTime>
  <Words>874</Words>
  <Application>Microsoft Office PowerPoint</Application>
  <PresentationFormat>Προσαρμογή</PresentationFormat>
  <Paragraphs>82</Paragraphs>
  <Slides>25</Slides>
  <Notes>0</Notes>
  <HiddenSlides>0</HiddenSlides>
  <MMClips>0</MMClips>
  <ScaleCrop>false</ScaleCrop>
  <HeadingPairs>
    <vt:vector size="4" baseType="variant">
      <vt:variant>
        <vt:lpstr>Θέμα</vt:lpstr>
      </vt:variant>
      <vt:variant>
        <vt:i4>1</vt:i4>
      </vt:variant>
      <vt:variant>
        <vt:lpstr>Τίτλοι διαφανειών</vt:lpstr>
      </vt:variant>
      <vt:variant>
        <vt:i4>25</vt:i4>
      </vt:variant>
    </vt:vector>
  </HeadingPairs>
  <TitlesOfParts>
    <vt:vector size="26" baseType="lpstr">
      <vt:lpstr>Ιόν</vt:lpstr>
      <vt:lpstr>Οδηγός Mentimeter Κουκάκης Γεώργιος/ Καθηγητής Πληροφορικής</vt:lpstr>
      <vt:lpstr>Κεντρική σελίδα Mentimeter</vt:lpstr>
      <vt:lpstr>Εγγραφή στο Mentimeter</vt:lpstr>
      <vt:lpstr>Προφίλ Λογαριασμού</vt:lpstr>
      <vt:lpstr>Δημιουργία νέας παρουσίασης</vt:lpstr>
      <vt:lpstr>Είδη template προς χρήση</vt:lpstr>
      <vt:lpstr>Επιλογή είδους νέας διαφάνειας</vt:lpstr>
      <vt:lpstr>Χρήση Word Cloud</vt:lpstr>
      <vt:lpstr>Δοκιμή διαφάνειας/παρουσίασης</vt:lpstr>
      <vt:lpstr>Παράθυρο παρουσιαστή σε δοκιμή</vt:lpstr>
      <vt:lpstr>Παράθυρο συμμετέχοντα σε δοκιμή</vt:lpstr>
      <vt:lpstr>Αποτέλεσμα μίας καταγραφής</vt:lpstr>
      <vt:lpstr>Αποτέλεσμα περισσότερων απαντήσεων</vt:lpstr>
      <vt:lpstr>Χρήση ερωτήσεων πολλαπλών επιλογών</vt:lpstr>
      <vt:lpstr>Προσθήκη φωτογραφιών ή Gifs στη θέση των απαντήσεων</vt:lpstr>
      <vt:lpstr>Ερωτήσεις πολλαπλών επιλογών με χρήση Gifs</vt:lpstr>
      <vt:lpstr>Χρήση διαφανειών</vt:lpstr>
      <vt:lpstr>Προσθήκη εικόνας στις διαφάνειες</vt:lpstr>
      <vt:lpstr>Δυνατότητα  γρήγορης αλλαγής τύπου διαφάνειας</vt:lpstr>
      <vt:lpstr>Δυνατότητα αλλαγής τρόπου παρουσίασης διαφάνειας</vt:lpstr>
      <vt:lpstr>Δυνατότητα προσθήκης διαδραστικότητας στη διαφάνεια</vt:lpstr>
      <vt:lpstr>Δυνατότητα προσθήκης βίντεο</vt:lpstr>
      <vt:lpstr>Χρήση ερώτησης κατάταξης</vt:lpstr>
      <vt:lpstr>Επιπλέον είδη διαφανειών περιεχομένου</vt:lpstr>
      <vt:lpstr>Διαφάνεια 25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Τιτλός σεμιναρίου όνομα διδάσκοντων / ιδιότητα προαιρετικά</dc:title>
  <dc:creator>Athanasios Malamos</dc:creator>
  <cp:lastModifiedBy>ΚΑΤΕΡΙΝΑ</cp:lastModifiedBy>
  <cp:revision>9</cp:revision>
  <dcterms:created xsi:type="dcterms:W3CDTF">2023-09-21T10:16:00Z</dcterms:created>
  <dcterms:modified xsi:type="dcterms:W3CDTF">2023-10-11T15:39:49Z</dcterms:modified>
</cp:coreProperties>
</file>